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21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29.xml" ContentType="application/vnd.openxmlformats-officedocument.presentationml.tags+xml"/>
  <Override PartName="/ppt/notesSlides/notesSlide2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66" r:id="rId24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openxmlformats.org/officeDocument/2006/relationships/slide" Target="/ppt/slides/slide21.xml" Id="rId24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5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1.xml.rels>&#65279;<?xml version="1.0" encoding="utf-8"?><Relationships xmlns="http://schemas.openxmlformats.org/package/2006/relationships"><Relationship Type="http://schemas.openxmlformats.org/officeDocument/2006/relationships/slide" Target="/ppt/slides/slide21.xml" Id="rId2" /><Relationship Type="http://schemas.openxmlformats.org/officeDocument/2006/relationships/notesMaster" Target="/ppt/notesMasters/notesMaster1.xml" Id="rId1" /></Relationship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242378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1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129.xml" Id="rId2" /><Relationship Type="http://schemas.openxmlformats.org/officeDocument/2006/relationships/vmlDrawing" Target="/ppt/drawings/vmlDrawing25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25.bin" Id="rId5" /><Relationship Type="http://schemas.openxmlformats.org/officeDocument/2006/relationships/notesSlide" Target="/ppt/notesSlides/notesSlide21.xml" Id="rId4" /></Relationships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4424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0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Funnel, horizontal II</a:t>
            </a:r>
          </a:p>
        </p:txBody>
      </p:sp>
      <p:cxnSp>
        <p:nvCxnSpPr>
          <p:cNvPr id="2" name="Gerader Verbinder 31">
            <a:extLst>
              <a:ext uri="{FF2B5EF4-FFF2-40B4-BE49-F238E27FC236}">
                <a16:creationId xmlns:a16="http://schemas.microsoft.com/office/drawing/2014/main" id="{D0EFA1A1-CC07-618C-EA88-83209966FF79}"/>
              </a:ext>
            </a:extLst>
          </p:cNvPr>
          <p:cNvCxnSpPr>
            <a:cxnSpLocks/>
          </p:cNvCxnSpPr>
          <p:nvPr/>
        </p:nvCxnSpPr>
        <p:spPr>
          <a:xfrm>
            <a:off x="1952573" y="4893185"/>
            <a:ext cx="0" cy="1165225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r Verbinder 32">
            <a:extLst>
              <a:ext uri="{FF2B5EF4-FFF2-40B4-BE49-F238E27FC236}">
                <a16:creationId xmlns:a16="http://schemas.microsoft.com/office/drawing/2014/main" id="{CDC184BD-E145-0C74-C6C0-2C4F6ADAA379}"/>
              </a:ext>
            </a:extLst>
          </p:cNvPr>
          <p:cNvCxnSpPr>
            <a:cxnSpLocks/>
          </p:cNvCxnSpPr>
          <p:nvPr/>
        </p:nvCxnSpPr>
        <p:spPr>
          <a:xfrm>
            <a:off x="3152621" y="4686810"/>
            <a:ext cx="0" cy="137715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r Verbinder 33">
            <a:extLst>
              <a:ext uri="{FF2B5EF4-FFF2-40B4-BE49-F238E27FC236}">
                <a16:creationId xmlns:a16="http://schemas.microsoft.com/office/drawing/2014/main" id="{4C4D19A1-4A3D-EBE9-F0FE-1E9F23FAACDB}"/>
              </a:ext>
            </a:extLst>
          </p:cNvPr>
          <p:cNvCxnSpPr>
            <a:cxnSpLocks/>
          </p:cNvCxnSpPr>
          <p:nvPr/>
        </p:nvCxnSpPr>
        <p:spPr>
          <a:xfrm>
            <a:off x="4352670" y="4483540"/>
            <a:ext cx="0" cy="1582808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34">
            <a:extLst>
              <a:ext uri="{FF2B5EF4-FFF2-40B4-BE49-F238E27FC236}">
                <a16:creationId xmlns:a16="http://schemas.microsoft.com/office/drawing/2014/main" id="{117858D7-D251-BF4A-578C-BB1671EB8DBF}"/>
              </a:ext>
            </a:extLst>
          </p:cNvPr>
          <p:cNvCxnSpPr>
            <a:cxnSpLocks/>
          </p:cNvCxnSpPr>
          <p:nvPr/>
        </p:nvCxnSpPr>
        <p:spPr>
          <a:xfrm>
            <a:off x="5552720" y="4295589"/>
            <a:ext cx="0" cy="1768377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35">
            <a:extLst>
              <a:ext uri="{FF2B5EF4-FFF2-40B4-BE49-F238E27FC236}">
                <a16:creationId xmlns:a16="http://schemas.microsoft.com/office/drawing/2014/main" id="{FFF153DA-1076-6ED8-99AD-DAA5B72C3779}"/>
              </a:ext>
            </a:extLst>
          </p:cNvPr>
          <p:cNvCxnSpPr>
            <a:cxnSpLocks/>
          </p:cNvCxnSpPr>
          <p:nvPr/>
        </p:nvCxnSpPr>
        <p:spPr>
          <a:xfrm>
            <a:off x="6752768" y="4118974"/>
            <a:ext cx="0" cy="194023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36">
            <a:extLst>
              <a:ext uri="{FF2B5EF4-FFF2-40B4-BE49-F238E27FC236}">
                <a16:creationId xmlns:a16="http://schemas.microsoft.com/office/drawing/2014/main" id="{CC5DED62-E7DD-7A0D-F980-53C101D43C44}"/>
              </a:ext>
            </a:extLst>
          </p:cNvPr>
          <p:cNvCxnSpPr>
            <a:cxnSpLocks/>
          </p:cNvCxnSpPr>
          <p:nvPr/>
        </p:nvCxnSpPr>
        <p:spPr>
          <a:xfrm>
            <a:off x="7952817" y="3941903"/>
            <a:ext cx="0" cy="2117301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37">
            <a:extLst>
              <a:ext uri="{FF2B5EF4-FFF2-40B4-BE49-F238E27FC236}">
                <a16:creationId xmlns:a16="http://schemas.microsoft.com/office/drawing/2014/main" id="{5074D20D-D6D6-753D-A4E2-4AEB3FA51922}"/>
              </a:ext>
            </a:extLst>
          </p:cNvPr>
          <p:cNvCxnSpPr>
            <a:cxnSpLocks/>
          </p:cNvCxnSpPr>
          <p:nvPr/>
        </p:nvCxnSpPr>
        <p:spPr>
          <a:xfrm>
            <a:off x="9152865" y="3765291"/>
            <a:ext cx="0" cy="2293913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38">
            <a:extLst>
              <a:ext uri="{FF2B5EF4-FFF2-40B4-BE49-F238E27FC236}">
                <a16:creationId xmlns:a16="http://schemas.microsoft.com/office/drawing/2014/main" id="{705A1D86-4AD4-A9B0-60F9-556A9A97A9F6}"/>
              </a:ext>
            </a:extLst>
          </p:cNvPr>
          <p:cNvCxnSpPr>
            <a:cxnSpLocks/>
          </p:cNvCxnSpPr>
          <p:nvPr/>
        </p:nvCxnSpPr>
        <p:spPr>
          <a:xfrm>
            <a:off x="10352915" y="3561273"/>
            <a:ext cx="0" cy="2502693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38EA4483-7DA1-8412-8A14-F4EF9898BF20}"/>
              </a:ext>
            </a:extLst>
          </p:cNvPr>
          <p:cNvSpPr txBox="1">
            <a:spLocks/>
          </p:cNvSpPr>
          <p:nvPr/>
        </p:nvSpPr>
        <p:spPr bwMode="gray">
          <a:xfrm>
            <a:off x="2053406" y="5202192"/>
            <a:ext cx="1024107" cy="86177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Titl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/>
              <a:t>Insert your desired text here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4F6A996B-D562-E85B-07C4-ADF70A57A09F}"/>
              </a:ext>
            </a:extLst>
          </p:cNvPr>
          <p:cNvSpPr txBox="1">
            <a:spLocks/>
          </p:cNvSpPr>
          <p:nvPr/>
        </p:nvSpPr>
        <p:spPr bwMode="gray">
          <a:xfrm>
            <a:off x="3251377" y="5202192"/>
            <a:ext cx="1024107" cy="86177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Titl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/>
              <a:t>Insert your desired text here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E22A1848-D444-86E2-ED2F-EF84972F0095}"/>
              </a:ext>
            </a:extLst>
          </p:cNvPr>
          <p:cNvSpPr txBox="1">
            <a:spLocks/>
          </p:cNvSpPr>
          <p:nvPr/>
        </p:nvSpPr>
        <p:spPr bwMode="gray">
          <a:xfrm>
            <a:off x="4449349" y="5202192"/>
            <a:ext cx="1024107" cy="86177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Titl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/>
              <a:t>Insert your desired text here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71405FB7-BCD4-E73B-5511-353ECAA1BAB5}"/>
              </a:ext>
            </a:extLst>
          </p:cNvPr>
          <p:cNvSpPr txBox="1">
            <a:spLocks/>
          </p:cNvSpPr>
          <p:nvPr/>
        </p:nvSpPr>
        <p:spPr bwMode="gray">
          <a:xfrm>
            <a:off x="5647320" y="5202192"/>
            <a:ext cx="1024107" cy="86177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Titl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/>
              <a:t>Insert your desired text here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1E8D98FF-DDD8-3A77-CDBA-B8D8587E87C6}"/>
              </a:ext>
            </a:extLst>
          </p:cNvPr>
          <p:cNvSpPr txBox="1">
            <a:spLocks/>
          </p:cNvSpPr>
          <p:nvPr/>
        </p:nvSpPr>
        <p:spPr bwMode="gray">
          <a:xfrm>
            <a:off x="6845293" y="5202192"/>
            <a:ext cx="1024107" cy="86177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Titl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/>
              <a:t>Insert your desired text here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5E0ED2D3-8255-110F-EDFD-E190953A53F2}"/>
              </a:ext>
            </a:extLst>
          </p:cNvPr>
          <p:cNvSpPr txBox="1">
            <a:spLocks/>
          </p:cNvSpPr>
          <p:nvPr/>
        </p:nvSpPr>
        <p:spPr bwMode="gray">
          <a:xfrm>
            <a:off x="8043265" y="5202192"/>
            <a:ext cx="1024107" cy="86177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Titl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/>
              <a:t>Insert your desired text here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7E5C62B4-AA93-97AA-DBDF-360CAED274F7}"/>
              </a:ext>
            </a:extLst>
          </p:cNvPr>
          <p:cNvSpPr txBox="1">
            <a:spLocks/>
          </p:cNvSpPr>
          <p:nvPr/>
        </p:nvSpPr>
        <p:spPr bwMode="gray">
          <a:xfrm>
            <a:off x="9241236" y="5202192"/>
            <a:ext cx="1024107" cy="86177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Titl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/>
              <a:t>Insert your desired text here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78F57AA1-817A-7B53-DC64-D0C905FE0E38}"/>
              </a:ext>
            </a:extLst>
          </p:cNvPr>
          <p:cNvSpPr txBox="1">
            <a:spLocks/>
          </p:cNvSpPr>
          <p:nvPr/>
        </p:nvSpPr>
        <p:spPr bwMode="gray">
          <a:xfrm>
            <a:off x="10439207" y="5202192"/>
            <a:ext cx="1024107" cy="86177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Titl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/>
              <a:t>Insert your desired text here</a:t>
            </a:r>
          </a:p>
        </p:txBody>
      </p:sp>
      <p:grpSp>
        <p:nvGrpSpPr>
          <p:cNvPr id="21" name="Gruppieren 70">
            <a:extLst>
              <a:ext uri="{FF2B5EF4-FFF2-40B4-BE49-F238E27FC236}">
                <a16:creationId xmlns:a16="http://schemas.microsoft.com/office/drawing/2014/main" id="{72F12D33-850C-E9F2-0E7F-A972F1BCA1E7}"/>
              </a:ext>
            </a:extLst>
          </p:cNvPr>
          <p:cNvGrpSpPr>
            <a:grpSpLocks/>
          </p:cNvGrpSpPr>
          <p:nvPr/>
        </p:nvGrpSpPr>
        <p:grpSpPr>
          <a:xfrm>
            <a:off x="10350599" y="2841259"/>
            <a:ext cx="1201321" cy="576582"/>
            <a:chOff x="9189621" y="2672474"/>
            <a:chExt cx="1015356" cy="576582"/>
          </a:xfrm>
        </p:grpSpPr>
        <p:sp>
          <p:nvSpPr>
            <p:cNvPr id="22" name="Freihandform: Form 7">
              <a:extLst>
                <a:ext uri="{FF2B5EF4-FFF2-40B4-BE49-F238E27FC236}">
                  <a16:creationId xmlns:a16="http://schemas.microsoft.com/office/drawing/2014/main" id="{8F55964F-A2AE-3AD7-1039-EDF93BF79FA5}"/>
                </a:ext>
              </a:extLst>
            </p:cNvPr>
            <p:cNvSpPr>
              <a:spLocks/>
            </p:cNvSpPr>
            <p:nvPr/>
          </p:nvSpPr>
          <p:spPr>
            <a:xfrm rot="16200000">
              <a:off x="8950664" y="2914839"/>
              <a:ext cx="573174" cy="95260"/>
            </a:xfrm>
            <a:custGeom>
              <a:avLst/>
              <a:gdLst>
                <a:gd name="connsiteX0" fmla="*/ 189166 w 189166"/>
                <a:gd name="connsiteY0" fmla="*/ 4381 h 8762"/>
                <a:gd name="connsiteX1" fmla="*/ 189071 w 189166"/>
                <a:gd name="connsiteY1" fmla="*/ 4572 h 8762"/>
                <a:gd name="connsiteX2" fmla="*/ 94583 w 189166"/>
                <a:gd name="connsiteY2" fmla="*/ 8763 h 8762"/>
                <a:gd name="connsiteX3" fmla="*/ 95 w 189166"/>
                <a:gd name="connsiteY3" fmla="*/ 4572 h 8762"/>
                <a:gd name="connsiteX4" fmla="*/ 0 w 189166"/>
                <a:gd name="connsiteY4" fmla="*/ 4381 h 8762"/>
                <a:gd name="connsiteX5" fmla="*/ 94583 w 189166"/>
                <a:gd name="connsiteY5" fmla="*/ 0 h 8762"/>
                <a:gd name="connsiteX6" fmla="*/ 189166 w 189166"/>
                <a:gd name="connsiteY6" fmla="*/ 4381 h 8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166" h="8762">
                  <a:moveTo>
                    <a:pt x="189166" y="4381"/>
                  </a:moveTo>
                  <a:cubicBezTo>
                    <a:pt x="189166" y="4381"/>
                    <a:pt x="189166" y="4572"/>
                    <a:pt x="189071" y="4572"/>
                  </a:cubicBezTo>
                  <a:cubicBezTo>
                    <a:pt x="186500" y="6953"/>
                    <a:pt x="145256" y="8763"/>
                    <a:pt x="94583" y="8763"/>
                  </a:cubicBezTo>
                  <a:cubicBezTo>
                    <a:pt x="43910" y="8763"/>
                    <a:pt x="2667" y="6953"/>
                    <a:pt x="95" y="4572"/>
                  </a:cubicBezTo>
                  <a:cubicBezTo>
                    <a:pt x="0" y="4572"/>
                    <a:pt x="0" y="4477"/>
                    <a:pt x="0" y="4381"/>
                  </a:cubicBezTo>
                  <a:cubicBezTo>
                    <a:pt x="0" y="1905"/>
                    <a:pt x="42386" y="0"/>
                    <a:pt x="94583" y="0"/>
                  </a:cubicBezTo>
                  <a:cubicBezTo>
                    <a:pt x="146780" y="0"/>
                    <a:pt x="189166" y="1905"/>
                    <a:pt x="189166" y="4381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3" name="Freihandform: Form 8">
              <a:extLst>
                <a:ext uri="{FF2B5EF4-FFF2-40B4-BE49-F238E27FC236}">
                  <a16:creationId xmlns:a16="http://schemas.microsoft.com/office/drawing/2014/main" id="{38B2FCB4-CD04-2129-5F49-71D425CA97B3}"/>
                </a:ext>
              </a:extLst>
            </p:cNvPr>
            <p:cNvSpPr>
              <a:spLocks/>
            </p:cNvSpPr>
            <p:nvPr/>
          </p:nvSpPr>
          <p:spPr>
            <a:xfrm rot="16200000">
              <a:off x="9430830" y="2474621"/>
              <a:ext cx="576293" cy="972000"/>
            </a:xfrm>
            <a:custGeom>
              <a:avLst/>
              <a:gdLst>
                <a:gd name="connsiteX0" fmla="*/ 188976 w 188976"/>
                <a:gd name="connsiteY0" fmla="*/ 0 h 78866"/>
                <a:gd name="connsiteX1" fmla="*/ 157163 w 188976"/>
                <a:gd name="connsiteY1" fmla="*/ 75914 h 78866"/>
                <a:gd name="connsiteX2" fmla="*/ 94488 w 188976"/>
                <a:gd name="connsiteY2" fmla="*/ 78867 h 78866"/>
                <a:gd name="connsiteX3" fmla="*/ 31814 w 188976"/>
                <a:gd name="connsiteY3" fmla="*/ 75914 h 78866"/>
                <a:gd name="connsiteX4" fmla="*/ 31909 w 188976"/>
                <a:gd name="connsiteY4" fmla="*/ 75914 h 78866"/>
                <a:gd name="connsiteX5" fmla="*/ 31909 w 188976"/>
                <a:gd name="connsiteY5" fmla="*/ 75914 h 78866"/>
                <a:gd name="connsiteX6" fmla="*/ 0 w 188976"/>
                <a:gd name="connsiteY6" fmla="*/ 0 h 78866"/>
                <a:gd name="connsiteX7" fmla="*/ 94488 w 188976"/>
                <a:gd name="connsiteY7" fmla="*/ 4191 h 78866"/>
                <a:gd name="connsiteX8" fmla="*/ 188976 w 188976"/>
                <a:gd name="connsiteY8" fmla="*/ 0 h 78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8976" h="78866">
                  <a:moveTo>
                    <a:pt x="188976" y="0"/>
                  </a:moveTo>
                  <a:lnTo>
                    <a:pt x="157163" y="75914"/>
                  </a:lnTo>
                  <a:cubicBezTo>
                    <a:pt x="157163" y="77533"/>
                    <a:pt x="129159" y="78867"/>
                    <a:pt x="94488" y="78867"/>
                  </a:cubicBezTo>
                  <a:cubicBezTo>
                    <a:pt x="59817" y="78867"/>
                    <a:pt x="31814" y="77533"/>
                    <a:pt x="31814" y="75914"/>
                  </a:cubicBezTo>
                  <a:cubicBezTo>
                    <a:pt x="31814" y="75914"/>
                    <a:pt x="31845" y="75914"/>
                    <a:pt x="31909" y="75914"/>
                  </a:cubicBezTo>
                  <a:lnTo>
                    <a:pt x="31909" y="75914"/>
                  </a:lnTo>
                  <a:lnTo>
                    <a:pt x="0" y="0"/>
                  </a:lnTo>
                  <a:cubicBezTo>
                    <a:pt x="2572" y="2381"/>
                    <a:pt x="43910" y="4191"/>
                    <a:pt x="94488" y="4191"/>
                  </a:cubicBezTo>
                  <a:cubicBezTo>
                    <a:pt x="145066" y="4191"/>
                    <a:pt x="186404" y="2381"/>
                    <a:pt x="188976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24" name="Gruppieren 69">
            <a:extLst>
              <a:ext uri="{FF2B5EF4-FFF2-40B4-BE49-F238E27FC236}">
                <a16:creationId xmlns:a16="http://schemas.microsoft.com/office/drawing/2014/main" id="{2E9FC8FF-795D-6ABE-6249-963D4ABDB3CD}"/>
              </a:ext>
            </a:extLst>
          </p:cNvPr>
          <p:cNvGrpSpPr>
            <a:grpSpLocks/>
          </p:cNvGrpSpPr>
          <p:nvPr/>
        </p:nvGrpSpPr>
        <p:grpSpPr>
          <a:xfrm>
            <a:off x="9149044" y="2672899"/>
            <a:ext cx="1208490" cy="916247"/>
            <a:chOff x="8248743" y="2504114"/>
            <a:chExt cx="1021415" cy="916247"/>
          </a:xfrm>
        </p:grpSpPr>
        <p:sp>
          <p:nvSpPr>
            <p:cNvPr id="25" name="Freihandform: Form 10">
              <a:extLst>
                <a:ext uri="{FF2B5EF4-FFF2-40B4-BE49-F238E27FC236}">
                  <a16:creationId xmlns:a16="http://schemas.microsoft.com/office/drawing/2014/main" id="{E42973C7-3CB4-0991-151B-1308D56C0279}"/>
                </a:ext>
              </a:extLst>
            </p:cNvPr>
            <p:cNvSpPr>
              <a:spLocks/>
            </p:cNvSpPr>
            <p:nvPr/>
          </p:nvSpPr>
          <p:spPr>
            <a:xfrm rot="16200000">
              <a:off x="7841241" y="2912077"/>
              <a:ext cx="915786" cy="100782"/>
            </a:xfrm>
            <a:custGeom>
              <a:avLst/>
              <a:gdLst>
                <a:gd name="connsiteX0" fmla="*/ 189166 w 189166"/>
                <a:gd name="connsiteY0" fmla="*/ 4381 h 8762"/>
                <a:gd name="connsiteX1" fmla="*/ 189071 w 189166"/>
                <a:gd name="connsiteY1" fmla="*/ 4572 h 8762"/>
                <a:gd name="connsiteX2" fmla="*/ 94583 w 189166"/>
                <a:gd name="connsiteY2" fmla="*/ 8763 h 8762"/>
                <a:gd name="connsiteX3" fmla="*/ 95 w 189166"/>
                <a:gd name="connsiteY3" fmla="*/ 4572 h 8762"/>
                <a:gd name="connsiteX4" fmla="*/ 0 w 189166"/>
                <a:gd name="connsiteY4" fmla="*/ 4381 h 8762"/>
                <a:gd name="connsiteX5" fmla="*/ 94583 w 189166"/>
                <a:gd name="connsiteY5" fmla="*/ 0 h 8762"/>
                <a:gd name="connsiteX6" fmla="*/ 189166 w 189166"/>
                <a:gd name="connsiteY6" fmla="*/ 4381 h 8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166" h="8762">
                  <a:moveTo>
                    <a:pt x="189166" y="4381"/>
                  </a:moveTo>
                  <a:cubicBezTo>
                    <a:pt x="189166" y="4381"/>
                    <a:pt x="189166" y="4572"/>
                    <a:pt x="189071" y="4572"/>
                  </a:cubicBezTo>
                  <a:cubicBezTo>
                    <a:pt x="186500" y="6953"/>
                    <a:pt x="145256" y="8763"/>
                    <a:pt x="94583" y="8763"/>
                  </a:cubicBezTo>
                  <a:cubicBezTo>
                    <a:pt x="43910" y="8763"/>
                    <a:pt x="2667" y="6953"/>
                    <a:pt x="95" y="4572"/>
                  </a:cubicBezTo>
                  <a:cubicBezTo>
                    <a:pt x="0" y="4572"/>
                    <a:pt x="0" y="4477"/>
                    <a:pt x="0" y="4381"/>
                  </a:cubicBezTo>
                  <a:cubicBezTo>
                    <a:pt x="0" y="1905"/>
                    <a:pt x="42386" y="0"/>
                    <a:pt x="94583" y="0"/>
                  </a:cubicBezTo>
                  <a:cubicBezTo>
                    <a:pt x="146780" y="0"/>
                    <a:pt x="189166" y="1905"/>
                    <a:pt x="189166" y="4381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6" name="Freihandform: Form 11">
              <a:extLst>
                <a:ext uri="{FF2B5EF4-FFF2-40B4-BE49-F238E27FC236}">
                  <a16:creationId xmlns:a16="http://schemas.microsoft.com/office/drawing/2014/main" id="{E677F299-8BAB-75D9-018A-0CD3578724B9}"/>
                </a:ext>
              </a:extLst>
            </p:cNvPr>
            <p:cNvSpPr>
              <a:spLocks/>
            </p:cNvSpPr>
            <p:nvPr/>
          </p:nvSpPr>
          <p:spPr>
            <a:xfrm rot="16200000">
              <a:off x="8326265" y="2476007"/>
              <a:ext cx="915786" cy="972000"/>
            </a:xfrm>
            <a:custGeom>
              <a:avLst/>
              <a:gdLst>
                <a:gd name="connsiteX0" fmla="*/ 188976 w 188976"/>
                <a:gd name="connsiteY0" fmla="*/ 0 h 78866"/>
                <a:gd name="connsiteX1" fmla="*/ 157163 w 188976"/>
                <a:gd name="connsiteY1" fmla="*/ 75914 h 78866"/>
                <a:gd name="connsiteX2" fmla="*/ 94488 w 188976"/>
                <a:gd name="connsiteY2" fmla="*/ 78867 h 78866"/>
                <a:gd name="connsiteX3" fmla="*/ 31814 w 188976"/>
                <a:gd name="connsiteY3" fmla="*/ 75914 h 78866"/>
                <a:gd name="connsiteX4" fmla="*/ 31909 w 188976"/>
                <a:gd name="connsiteY4" fmla="*/ 75914 h 78866"/>
                <a:gd name="connsiteX5" fmla="*/ 31909 w 188976"/>
                <a:gd name="connsiteY5" fmla="*/ 75914 h 78866"/>
                <a:gd name="connsiteX6" fmla="*/ 0 w 188976"/>
                <a:gd name="connsiteY6" fmla="*/ 0 h 78866"/>
                <a:gd name="connsiteX7" fmla="*/ 94488 w 188976"/>
                <a:gd name="connsiteY7" fmla="*/ 4191 h 78866"/>
                <a:gd name="connsiteX8" fmla="*/ 188976 w 188976"/>
                <a:gd name="connsiteY8" fmla="*/ 0 h 78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8976" h="78866">
                  <a:moveTo>
                    <a:pt x="188976" y="0"/>
                  </a:moveTo>
                  <a:lnTo>
                    <a:pt x="157163" y="75914"/>
                  </a:lnTo>
                  <a:cubicBezTo>
                    <a:pt x="157163" y="77533"/>
                    <a:pt x="129159" y="78867"/>
                    <a:pt x="94488" y="78867"/>
                  </a:cubicBezTo>
                  <a:cubicBezTo>
                    <a:pt x="59817" y="78867"/>
                    <a:pt x="31814" y="77533"/>
                    <a:pt x="31814" y="75914"/>
                  </a:cubicBezTo>
                  <a:cubicBezTo>
                    <a:pt x="31814" y="75914"/>
                    <a:pt x="31845" y="75914"/>
                    <a:pt x="31909" y="75914"/>
                  </a:cubicBezTo>
                  <a:lnTo>
                    <a:pt x="31909" y="75914"/>
                  </a:lnTo>
                  <a:lnTo>
                    <a:pt x="0" y="0"/>
                  </a:lnTo>
                  <a:cubicBezTo>
                    <a:pt x="2572" y="2381"/>
                    <a:pt x="43910" y="4191"/>
                    <a:pt x="94488" y="4191"/>
                  </a:cubicBezTo>
                  <a:cubicBezTo>
                    <a:pt x="145066" y="4191"/>
                    <a:pt x="186404" y="2381"/>
                    <a:pt x="188976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27" name="Gruppieren 68">
            <a:extLst>
              <a:ext uri="{FF2B5EF4-FFF2-40B4-BE49-F238E27FC236}">
                <a16:creationId xmlns:a16="http://schemas.microsoft.com/office/drawing/2014/main" id="{24F3C774-BB2D-99F2-1DAE-053B91A14D47}"/>
              </a:ext>
            </a:extLst>
          </p:cNvPr>
          <p:cNvGrpSpPr>
            <a:grpSpLocks/>
          </p:cNvGrpSpPr>
          <p:nvPr/>
        </p:nvGrpSpPr>
        <p:grpSpPr>
          <a:xfrm>
            <a:off x="7940318" y="2496288"/>
            <a:ext cx="1229999" cy="1269927"/>
            <a:chOff x="7268428" y="2327503"/>
            <a:chExt cx="1039595" cy="1269927"/>
          </a:xfrm>
        </p:grpSpPr>
        <p:sp>
          <p:nvSpPr>
            <p:cNvPr id="28" name="Freihandform: Form 13">
              <a:extLst>
                <a:ext uri="{FF2B5EF4-FFF2-40B4-BE49-F238E27FC236}">
                  <a16:creationId xmlns:a16="http://schemas.microsoft.com/office/drawing/2014/main" id="{45BA00E1-7244-B96F-3273-1CAFC2B496D8}"/>
                </a:ext>
              </a:extLst>
            </p:cNvPr>
            <p:cNvSpPr>
              <a:spLocks/>
            </p:cNvSpPr>
            <p:nvPr/>
          </p:nvSpPr>
          <p:spPr>
            <a:xfrm rot="16200000">
              <a:off x="6703582" y="2892350"/>
              <a:ext cx="1269926" cy="140234"/>
            </a:xfrm>
            <a:custGeom>
              <a:avLst/>
              <a:gdLst>
                <a:gd name="connsiteX0" fmla="*/ 262319 w 262318"/>
                <a:gd name="connsiteY0" fmla="*/ 6096 h 12192"/>
                <a:gd name="connsiteX1" fmla="*/ 131159 w 262318"/>
                <a:gd name="connsiteY1" fmla="*/ 12192 h 12192"/>
                <a:gd name="connsiteX2" fmla="*/ 190 w 262318"/>
                <a:gd name="connsiteY2" fmla="*/ 6382 h 12192"/>
                <a:gd name="connsiteX3" fmla="*/ 0 w 262318"/>
                <a:gd name="connsiteY3" fmla="*/ 6096 h 12192"/>
                <a:gd name="connsiteX4" fmla="*/ 131159 w 262318"/>
                <a:gd name="connsiteY4" fmla="*/ 0 h 12192"/>
                <a:gd name="connsiteX5" fmla="*/ 262319 w 262318"/>
                <a:gd name="connsiteY5" fmla="*/ 6096 h 12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2318" h="12192">
                  <a:moveTo>
                    <a:pt x="262319" y="6096"/>
                  </a:moveTo>
                  <a:cubicBezTo>
                    <a:pt x="262319" y="9525"/>
                    <a:pt x="203644" y="12192"/>
                    <a:pt x="131159" y="12192"/>
                  </a:cubicBezTo>
                  <a:cubicBezTo>
                    <a:pt x="58674" y="12192"/>
                    <a:pt x="3715" y="9716"/>
                    <a:pt x="190" y="6382"/>
                  </a:cubicBezTo>
                  <a:cubicBezTo>
                    <a:pt x="190" y="6286"/>
                    <a:pt x="0" y="6191"/>
                    <a:pt x="0" y="6096"/>
                  </a:cubicBezTo>
                  <a:cubicBezTo>
                    <a:pt x="0" y="2667"/>
                    <a:pt x="58769" y="0"/>
                    <a:pt x="131159" y="0"/>
                  </a:cubicBezTo>
                  <a:cubicBezTo>
                    <a:pt x="203549" y="0"/>
                    <a:pt x="262319" y="2667"/>
                    <a:pt x="262319" y="6096"/>
                  </a:cubicBezTo>
                  <a:close/>
                </a:path>
              </a:pathLst>
            </a:custGeom>
            <a:solidFill>
              <a:schemeClr val="accent6"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9" name="Freihandform: Form 14">
              <a:extLst>
                <a:ext uri="{FF2B5EF4-FFF2-40B4-BE49-F238E27FC236}">
                  <a16:creationId xmlns:a16="http://schemas.microsoft.com/office/drawing/2014/main" id="{E136E4EE-861D-7C31-5AD9-39B2E524A239}"/>
                </a:ext>
              </a:extLst>
            </p:cNvPr>
            <p:cNvSpPr>
              <a:spLocks/>
            </p:cNvSpPr>
            <p:nvPr/>
          </p:nvSpPr>
          <p:spPr>
            <a:xfrm rot="16200000">
              <a:off x="7187521" y="2476005"/>
              <a:ext cx="1269003" cy="972000"/>
            </a:xfrm>
            <a:custGeom>
              <a:avLst/>
              <a:gdLst>
                <a:gd name="connsiteX0" fmla="*/ 262128 w 262127"/>
                <a:gd name="connsiteY0" fmla="*/ 0 h 80771"/>
                <a:gd name="connsiteX1" fmla="*/ 230219 w 262127"/>
                <a:gd name="connsiteY1" fmla="*/ 76105 h 80771"/>
                <a:gd name="connsiteX2" fmla="*/ 130969 w 262127"/>
                <a:gd name="connsiteY2" fmla="*/ 80772 h 80771"/>
                <a:gd name="connsiteX3" fmla="*/ 31718 w 262127"/>
                <a:gd name="connsiteY3" fmla="*/ 76105 h 80771"/>
                <a:gd name="connsiteX4" fmla="*/ 31814 w 262127"/>
                <a:gd name="connsiteY4" fmla="*/ 76105 h 80771"/>
                <a:gd name="connsiteX5" fmla="*/ 31814 w 262127"/>
                <a:gd name="connsiteY5" fmla="*/ 75914 h 80771"/>
                <a:gd name="connsiteX6" fmla="*/ 0 w 262127"/>
                <a:gd name="connsiteY6" fmla="*/ 286 h 80771"/>
                <a:gd name="connsiteX7" fmla="*/ 130969 w 262127"/>
                <a:gd name="connsiteY7" fmla="*/ 6096 h 80771"/>
                <a:gd name="connsiteX8" fmla="*/ 262128 w 262127"/>
                <a:gd name="connsiteY8" fmla="*/ 0 h 8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2127" h="80771">
                  <a:moveTo>
                    <a:pt x="262128" y="0"/>
                  </a:moveTo>
                  <a:lnTo>
                    <a:pt x="230219" y="76105"/>
                  </a:lnTo>
                  <a:cubicBezTo>
                    <a:pt x="230219" y="78676"/>
                    <a:pt x="185833" y="80772"/>
                    <a:pt x="130969" y="80772"/>
                  </a:cubicBezTo>
                  <a:cubicBezTo>
                    <a:pt x="76105" y="80772"/>
                    <a:pt x="31718" y="78676"/>
                    <a:pt x="31718" y="76105"/>
                  </a:cubicBezTo>
                  <a:lnTo>
                    <a:pt x="31814" y="76105"/>
                  </a:lnTo>
                  <a:lnTo>
                    <a:pt x="31814" y="75914"/>
                  </a:lnTo>
                  <a:lnTo>
                    <a:pt x="0" y="286"/>
                  </a:lnTo>
                  <a:cubicBezTo>
                    <a:pt x="3524" y="3619"/>
                    <a:pt x="60865" y="6096"/>
                    <a:pt x="130969" y="6096"/>
                  </a:cubicBezTo>
                  <a:cubicBezTo>
                    <a:pt x="201073" y="6096"/>
                    <a:pt x="262128" y="3429"/>
                    <a:pt x="262128" y="0"/>
                  </a:cubicBez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30" name="Gruppieren 67">
            <a:extLst>
              <a:ext uri="{FF2B5EF4-FFF2-40B4-BE49-F238E27FC236}">
                <a16:creationId xmlns:a16="http://schemas.microsoft.com/office/drawing/2014/main" id="{7BA46BCF-D5BA-F670-FAF5-540847ACBC8B}"/>
              </a:ext>
            </a:extLst>
          </p:cNvPr>
          <p:cNvGrpSpPr>
            <a:grpSpLocks/>
          </p:cNvGrpSpPr>
          <p:nvPr/>
        </p:nvGrpSpPr>
        <p:grpSpPr>
          <a:xfrm>
            <a:off x="6726599" y="2317834"/>
            <a:ext cx="1261495" cy="1625453"/>
            <a:chOff x="6251843" y="2149049"/>
            <a:chExt cx="1066215" cy="1625453"/>
          </a:xfrm>
        </p:grpSpPr>
        <p:sp>
          <p:nvSpPr>
            <p:cNvPr id="31" name="Freihandform: Form 16">
              <a:extLst>
                <a:ext uri="{FF2B5EF4-FFF2-40B4-BE49-F238E27FC236}">
                  <a16:creationId xmlns:a16="http://schemas.microsoft.com/office/drawing/2014/main" id="{CE084682-40A6-0196-9B81-724ACACB8CD6}"/>
                </a:ext>
              </a:extLst>
            </p:cNvPr>
            <p:cNvSpPr>
              <a:spLocks/>
            </p:cNvSpPr>
            <p:nvPr/>
          </p:nvSpPr>
          <p:spPr>
            <a:xfrm rot="16200000">
              <a:off x="6020024" y="2475083"/>
              <a:ext cx="1624068" cy="972000"/>
            </a:xfrm>
            <a:custGeom>
              <a:avLst/>
              <a:gdLst>
                <a:gd name="connsiteX0" fmla="*/ 334994 w 334994"/>
                <a:gd name="connsiteY0" fmla="*/ 0 h 82105"/>
                <a:gd name="connsiteX1" fmla="*/ 303181 w 334994"/>
                <a:gd name="connsiteY1" fmla="*/ 75724 h 82105"/>
                <a:gd name="connsiteX2" fmla="*/ 167450 w 334994"/>
                <a:gd name="connsiteY2" fmla="*/ 82105 h 82105"/>
                <a:gd name="connsiteX3" fmla="*/ 31718 w 334994"/>
                <a:gd name="connsiteY3" fmla="*/ 75724 h 82105"/>
                <a:gd name="connsiteX4" fmla="*/ 0 w 334994"/>
                <a:gd name="connsiteY4" fmla="*/ 95 h 82105"/>
                <a:gd name="connsiteX5" fmla="*/ 167450 w 334994"/>
                <a:gd name="connsiteY5" fmla="*/ 7430 h 82105"/>
                <a:gd name="connsiteX6" fmla="*/ 334994 w 334994"/>
                <a:gd name="connsiteY6" fmla="*/ 0 h 82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4994" h="82105">
                  <a:moveTo>
                    <a:pt x="334994" y="0"/>
                  </a:moveTo>
                  <a:lnTo>
                    <a:pt x="303181" y="75724"/>
                  </a:lnTo>
                  <a:cubicBezTo>
                    <a:pt x="303181" y="79248"/>
                    <a:pt x="242411" y="82105"/>
                    <a:pt x="167450" y="82105"/>
                  </a:cubicBezTo>
                  <a:cubicBezTo>
                    <a:pt x="92488" y="82105"/>
                    <a:pt x="31718" y="79248"/>
                    <a:pt x="31718" y="75724"/>
                  </a:cubicBezTo>
                  <a:lnTo>
                    <a:pt x="0" y="95"/>
                  </a:lnTo>
                  <a:cubicBezTo>
                    <a:pt x="5143" y="4286"/>
                    <a:pt x="78200" y="7430"/>
                    <a:pt x="167450" y="7430"/>
                  </a:cubicBezTo>
                  <a:cubicBezTo>
                    <a:pt x="256699" y="7430"/>
                    <a:pt x="330518" y="4191"/>
                    <a:pt x="334994" y="0"/>
                  </a:cubicBez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2" name="Freihandform: Form 17">
              <a:extLst>
                <a:ext uri="{FF2B5EF4-FFF2-40B4-BE49-F238E27FC236}">
                  <a16:creationId xmlns:a16="http://schemas.microsoft.com/office/drawing/2014/main" id="{3BC315C1-C6E7-E393-FF76-29174673FC9F}"/>
                </a:ext>
              </a:extLst>
            </p:cNvPr>
            <p:cNvSpPr>
              <a:spLocks/>
            </p:cNvSpPr>
            <p:nvPr/>
          </p:nvSpPr>
          <p:spPr>
            <a:xfrm rot="16200000">
              <a:off x="5529647" y="2872631"/>
              <a:ext cx="1624067" cy="179675"/>
            </a:xfrm>
            <a:custGeom>
              <a:avLst/>
              <a:gdLst>
                <a:gd name="connsiteX0" fmla="*/ 335471 w 335470"/>
                <a:gd name="connsiteY0" fmla="*/ 7810 h 15621"/>
                <a:gd name="connsiteX1" fmla="*/ 335280 w 335470"/>
                <a:gd name="connsiteY1" fmla="*/ 8192 h 15621"/>
                <a:gd name="connsiteX2" fmla="*/ 167735 w 335470"/>
                <a:gd name="connsiteY2" fmla="*/ 15621 h 15621"/>
                <a:gd name="connsiteX3" fmla="*/ 286 w 335470"/>
                <a:gd name="connsiteY3" fmla="*/ 8287 h 15621"/>
                <a:gd name="connsiteX4" fmla="*/ 190 w 335470"/>
                <a:gd name="connsiteY4" fmla="*/ 8192 h 15621"/>
                <a:gd name="connsiteX5" fmla="*/ 0 w 335470"/>
                <a:gd name="connsiteY5" fmla="*/ 7810 h 15621"/>
                <a:gd name="connsiteX6" fmla="*/ 167735 w 335470"/>
                <a:gd name="connsiteY6" fmla="*/ 0 h 15621"/>
                <a:gd name="connsiteX7" fmla="*/ 335471 w 335470"/>
                <a:gd name="connsiteY7" fmla="*/ 7810 h 15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5470" h="15621">
                  <a:moveTo>
                    <a:pt x="335471" y="7810"/>
                  </a:moveTo>
                  <a:cubicBezTo>
                    <a:pt x="335471" y="7810"/>
                    <a:pt x="335375" y="8096"/>
                    <a:pt x="335280" y="8192"/>
                  </a:cubicBezTo>
                  <a:cubicBezTo>
                    <a:pt x="330803" y="12383"/>
                    <a:pt x="257556" y="15621"/>
                    <a:pt x="167735" y="15621"/>
                  </a:cubicBezTo>
                  <a:cubicBezTo>
                    <a:pt x="77915" y="15621"/>
                    <a:pt x="5429" y="12478"/>
                    <a:pt x="286" y="8287"/>
                  </a:cubicBezTo>
                  <a:cubicBezTo>
                    <a:pt x="286" y="8287"/>
                    <a:pt x="286" y="8192"/>
                    <a:pt x="190" y="8192"/>
                  </a:cubicBezTo>
                  <a:cubicBezTo>
                    <a:pt x="95" y="8096"/>
                    <a:pt x="0" y="7906"/>
                    <a:pt x="0" y="7810"/>
                  </a:cubicBezTo>
                  <a:cubicBezTo>
                    <a:pt x="0" y="3429"/>
                    <a:pt x="75152" y="0"/>
                    <a:pt x="167735" y="0"/>
                  </a:cubicBezTo>
                  <a:cubicBezTo>
                    <a:pt x="260318" y="0"/>
                    <a:pt x="335471" y="3429"/>
                    <a:pt x="335471" y="7810"/>
                  </a:cubicBezTo>
                  <a:close/>
                </a:path>
              </a:pathLst>
            </a:custGeom>
            <a:solidFill>
              <a:schemeClr val="accent6"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33" name="Gruppieren 66">
            <a:extLst>
              <a:ext uri="{FF2B5EF4-FFF2-40B4-BE49-F238E27FC236}">
                <a16:creationId xmlns:a16="http://schemas.microsoft.com/office/drawing/2014/main" id="{3F03F7C4-0060-C579-9550-2B6087AE4129}"/>
              </a:ext>
            </a:extLst>
          </p:cNvPr>
          <p:cNvGrpSpPr>
            <a:grpSpLocks/>
          </p:cNvGrpSpPr>
          <p:nvPr/>
        </p:nvGrpSpPr>
        <p:grpSpPr>
          <a:xfrm>
            <a:off x="5521427" y="2140761"/>
            <a:ext cx="1275894" cy="1979597"/>
            <a:chOff x="5194714" y="1971976"/>
            <a:chExt cx="1078385" cy="1979597"/>
          </a:xfrm>
        </p:grpSpPr>
        <p:sp>
          <p:nvSpPr>
            <p:cNvPr id="34" name="Freihandform: Form 19">
              <a:extLst>
                <a:ext uri="{FF2B5EF4-FFF2-40B4-BE49-F238E27FC236}">
                  <a16:creationId xmlns:a16="http://schemas.microsoft.com/office/drawing/2014/main" id="{3166E56D-A003-7BD2-CB16-A328FB0CBD5A}"/>
                </a:ext>
              </a:extLst>
            </p:cNvPr>
            <p:cNvSpPr>
              <a:spLocks/>
            </p:cNvSpPr>
            <p:nvPr/>
          </p:nvSpPr>
          <p:spPr>
            <a:xfrm rot="16200000">
              <a:off x="4315167" y="2852911"/>
              <a:ext cx="1978209" cy="219116"/>
            </a:xfrm>
            <a:custGeom>
              <a:avLst/>
              <a:gdLst>
                <a:gd name="connsiteX0" fmla="*/ 408623 w 408622"/>
                <a:gd name="connsiteY0" fmla="*/ 9525 h 19050"/>
                <a:gd name="connsiteX1" fmla="*/ 204311 w 408622"/>
                <a:gd name="connsiteY1" fmla="*/ 19050 h 19050"/>
                <a:gd name="connsiteX2" fmla="*/ 286 w 408622"/>
                <a:gd name="connsiteY2" fmla="*/ 10001 h 19050"/>
                <a:gd name="connsiteX3" fmla="*/ 0 w 408622"/>
                <a:gd name="connsiteY3" fmla="*/ 9525 h 19050"/>
                <a:gd name="connsiteX4" fmla="*/ 204311 w 408622"/>
                <a:gd name="connsiteY4" fmla="*/ 0 h 19050"/>
                <a:gd name="connsiteX5" fmla="*/ 408623 w 408622"/>
                <a:gd name="connsiteY5" fmla="*/ 9525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622" h="19050">
                  <a:moveTo>
                    <a:pt x="408623" y="9525"/>
                  </a:moveTo>
                  <a:cubicBezTo>
                    <a:pt x="408623" y="14764"/>
                    <a:pt x="317183" y="19050"/>
                    <a:pt x="204311" y="19050"/>
                  </a:cubicBezTo>
                  <a:cubicBezTo>
                    <a:pt x="91440" y="19050"/>
                    <a:pt x="5715" y="15049"/>
                    <a:pt x="286" y="10001"/>
                  </a:cubicBezTo>
                  <a:cubicBezTo>
                    <a:pt x="95" y="9811"/>
                    <a:pt x="0" y="9716"/>
                    <a:pt x="0" y="9525"/>
                  </a:cubicBezTo>
                  <a:cubicBezTo>
                    <a:pt x="0" y="4286"/>
                    <a:pt x="91440" y="0"/>
                    <a:pt x="204311" y="0"/>
                  </a:cubicBezTo>
                  <a:cubicBezTo>
                    <a:pt x="317183" y="0"/>
                    <a:pt x="408623" y="4286"/>
                    <a:pt x="408623" y="9525"/>
                  </a:cubicBezTo>
                  <a:close/>
                </a:path>
              </a:pathLst>
            </a:custGeom>
            <a:solidFill>
              <a:schemeClr val="accent5"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5" name="Freihandform: Form 20">
              <a:extLst>
                <a:ext uri="{FF2B5EF4-FFF2-40B4-BE49-F238E27FC236}">
                  <a16:creationId xmlns:a16="http://schemas.microsoft.com/office/drawing/2014/main" id="{0593F815-111B-40DC-1384-CA97F88E4F8F}"/>
                </a:ext>
              </a:extLst>
            </p:cNvPr>
            <p:cNvSpPr>
              <a:spLocks/>
            </p:cNvSpPr>
            <p:nvPr/>
          </p:nvSpPr>
          <p:spPr>
            <a:xfrm rot="16200000">
              <a:off x="4797993" y="2475082"/>
              <a:ext cx="1978211" cy="972000"/>
            </a:xfrm>
            <a:custGeom>
              <a:avLst/>
              <a:gdLst>
                <a:gd name="connsiteX0" fmla="*/ 408337 w 408336"/>
                <a:gd name="connsiteY0" fmla="*/ 0 h 84296"/>
                <a:gd name="connsiteX1" fmla="*/ 376333 w 408336"/>
                <a:gd name="connsiteY1" fmla="*/ 76200 h 84296"/>
                <a:gd name="connsiteX2" fmla="*/ 204026 w 408336"/>
                <a:gd name="connsiteY2" fmla="*/ 84296 h 84296"/>
                <a:gd name="connsiteX3" fmla="*/ 31718 w 408336"/>
                <a:gd name="connsiteY3" fmla="*/ 76200 h 84296"/>
                <a:gd name="connsiteX4" fmla="*/ 0 w 408336"/>
                <a:gd name="connsiteY4" fmla="*/ 476 h 84296"/>
                <a:gd name="connsiteX5" fmla="*/ 204026 w 408336"/>
                <a:gd name="connsiteY5" fmla="*/ 9525 h 84296"/>
                <a:gd name="connsiteX6" fmla="*/ 408337 w 408336"/>
                <a:gd name="connsiteY6" fmla="*/ 0 h 8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336" h="84296">
                  <a:moveTo>
                    <a:pt x="408337" y="0"/>
                  </a:moveTo>
                  <a:lnTo>
                    <a:pt x="376333" y="76200"/>
                  </a:lnTo>
                  <a:cubicBezTo>
                    <a:pt x="376333" y="80677"/>
                    <a:pt x="299180" y="84296"/>
                    <a:pt x="204026" y="84296"/>
                  </a:cubicBezTo>
                  <a:cubicBezTo>
                    <a:pt x="108871" y="84296"/>
                    <a:pt x="31718" y="80677"/>
                    <a:pt x="31718" y="76200"/>
                  </a:cubicBezTo>
                  <a:lnTo>
                    <a:pt x="0" y="476"/>
                  </a:lnTo>
                  <a:cubicBezTo>
                    <a:pt x="5429" y="5524"/>
                    <a:pt x="94679" y="9525"/>
                    <a:pt x="204026" y="9525"/>
                  </a:cubicBezTo>
                  <a:cubicBezTo>
                    <a:pt x="313373" y="9525"/>
                    <a:pt x="408337" y="5239"/>
                    <a:pt x="408337" y="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36" name="Gruppieren 65">
            <a:extLst>
              <a:ext uri="{FF2B5EF4-FFF2-40B4-BE49-F238E27FC236}">
                <a16:creationId xmlns:a16="http://schemas.microsoft.com/office/drawing/2014/main" id="{BBB84FA5-9CEB-4CB8-B663-7CC43A718D15}"/>
              </a:ext>
            </a:extLst>
          </p:cNvPr>
          <p:cNvGrpSpPr>
            <a:grpSpLocks/>
          </p:cNvGrpSpPr>
          <p:nvPr/>
        </p:nvGrpSpPr>
        <p:grpSpPr>
          <a:xfrm>
            <a:off x="4307901" y="1964157"/>
            <a:ext cx="1307003" cy="2332812"/>
            <a:chOff x="4101317" y="1795372"/>
            <a:chExt cx="1104678" cy="2332812"/>
          </a:xfrm>
        </p:grpSpPr>
        <p:sp>
          <p:nvSpPr>
            <p:cNvPr id="37" name="Freihandform: Form 22">
              <a:extLst>
                <a:ext uri="{FF2B5EF4-FFF2-40B4-BE49-F238E27FC236}">
                  <a16:creationId xmlns:a16="http://schemas.microsoft.com/office/drawing/2014/main" id="{C138335D-DCBE-1480-4A63-3B0EF693386A}"/>
                </a:ext>
              </a:extLst>
            </p:cNvPr>
            <p:cNvSpPr>
              <a:spLocks/>
            </p:cNvSpPr>
            <p:nvPr/>
          </p:nvSpPr>
          <p:spPr>
            <a:xfrm rot="16200000">
              <a:off x="3554279" y="2475088"/>
              <a:ext cx="2331432" cy="972000"/>
            </a:xfrm>
            <a:custGeom>
              <a:avLst/>
              <a:gdLst>
                <a:gd name="connsiteX0" fmla="*/ 481013 w 481012"/>
                <a:gd name="connsiteY0" fmla="*/ 0 h 85439"/>
                <a:gd name="connsiteX1" fmla="*/ 449390 w 481012"/>
                <a:gd name="connsiteY1" fmla="*/ 75629 h 85439"/>
                <a:gd name="connsiteX2" fmla="*/ 240506 w 481012"/>
                <a:gd name="connsiteY2" fmla="*/ 85439 h 85439"/>
                <a:gd name="connsiteX3" fmla="*/ 31623 w 481012"/>
                <a:gd name="connsiteY3" fmla="*/ 75629 h 85439"/>
                <a:gd name="connsiteX4" fmla="*/ 31718 w 481012"/>
                <a:gd name="connsiteY4" fmla="*/ 75629 h 85439"/>
                <a:gd name="connsiteX5" fmla="*/ 0 w 481012"/>
                <a:gd name="connsiteY5" fmla="*/ 0 h 85439"/>
                <a:gd name="connsiteX6" fmla="*/ 240506 w 481012"/>
                <a:gd name="connsiteY6" fmla="*/ 10668 h 85439"/>
                <a:gd name="connsiteX7" fmla="*/ 481013 w 481012"/>
                <a:gd name="connsiteY7" fmla="*/ 0 h 8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1012" h="85439">
                  <a:moveTo>
                    <a:pt x="481013" y="0"/>
                  </a:moveTo>
                  <a:lnTo>
                    <a:pt x="449390" y="75629"/>
                  </a:lnTo>
                  <a:cubicBezTo>
                    <a:pt x="449390" y="81058"/>
                    <a:pt x="355854" y="85439"/>
                    <a:pt x="240506" y="85439"/>
                  </a:cubicBezTo>
                  <a:cubicBezTo>
                    <a:pt x="125159" y="85439"/>
                    <a:pt x="31623" y="81058"/>
                    <a:pt x="31623" y="75629"/>
                  </a:cubicBezTo>
                  <a:lnTo>
                    <a:pt x="31718" y="75629"/>
                  </a:lnTo>
                  <a:lnTo>
                    <a:pt x="0" y="0"/>
                  </a:lnTo>
                  <a:cubicBezTo>
                    <a:pt x="6477" y="5906"/>
                    <a:pt x="111728" y="10668"/>
                    <a:pt x="240506" y="10668"/>
                  </a:cubicBezTo>
                  <a:cubicBezTo>
                    <a:pt x="369284" y="10668"/>
                    <a:pt x="474536" y="5906"/>
                    <a:pt x="481013" y="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8" name="Freihandform: Form 23">
              <a:extLst>
                <a:ext uri="{FF2B5EF4-FFF2-40B4-BE49-F238E27FC236}">
                  <a16:creationId xmlns:a16="http://schemas.microsoft.com/office/drawing/2014/main" id="{68860373-86A2-88E5-2CEA-35469D3CCD68}"/>
                </a:ext>
              </a:extLst>
            </p:cNvPr>
            <p:cNvSpPr>
              <a:spLocks/>
            </p:cNvSpPr>
            <p:nvPr/>
          </p:nvSpPr>
          <p:spPr>
            <a:xfrm rot="16200000">
              <a:off x="3064874" y="2833196"/>
              <a:ext cx="2331431" cy="258545"/>
            </a:xfrm>
            <a:custGeom>
              <a:avLst/>
              <a:gdLst>
                <a:gd name="connsiteX0" fmla="*/ 481584 w 481584"/>
                <a:gd name="connsiteY0" fmla="*/ 11239 h 22478"/>
                <a:gd name="connsiteX1" fmla="*/ 481298 w 481584"/>
                <a:gd name="connsiteY1" fmla="*/ 11811 h 22478"/>
                <a:gd name="connsiteX2" fmla="*/ 240792 w 481584"/>
                <a:gd name="connsiteY2" fmla="*/ 22479 h 22478"/>
                <a:gd name="connsiteX3" fmla="*/ 286 w 481584"/>
                <a:gd name="connsiteY3" fmla="*/ 11811 h 22478"/>
                <a:gd name="connsiteX4" fmla="*/ 0 w 481584"/>
                <a:gd name="connsiteY4" fmla="*/ 11239 h 22478"/>
                <a:gd name="connsiteX5" fmla="*/ 240792 w 481584"/>
                <a:gd name="connsiteY5" fmla="*/ 0 h 22478"/>
                <a:gd name="connsiteX6" fmla="*/ 481584 w 481584"/>
                <a:gd name="connsiteY6" fmla="*/ 11239 h 2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1584" h="22478">
                  <a:moveTo>
                    <a:pt x="481584" y="11239"/>
                  </a:moveTo>
                  <a:cubicBezTo>
                    <a:pt x="481584" y="11239"/>
                    <a:pt x="481489" y="11621"/>
                    <a:pt x="481298" y="11811"/>
                  </a:cubicBezTo>
                  <a:cubicBezTo>
                    <a:pt x="474821" y="17717"/>
                    <a:pt x="369570" y="22479"/>
                    <a:pt x="240792" y="22479"/>
                  </a:cubicBezTo>
                  <a:cubicBezTo>
                    <a:pt x="112014" y="22479"/>
                    <a:pt x="6763" y="17717"/>
                    <a:pt x="286" y="11811"/>
                  </a:cubicBezTo>
                  <a:cubicBezTo>
                    <a:pt x="95" y="11621"/>
                    <a:pt x="0" y="11430"/>
                    <a:pt x="0" y="11239"/>
                  </a:cubicBezTo>
                  <a:cubicBezTo>
                    <a:pt x="0" y="5048"/>
                    <a:pt x="107823" y="0"/>
                    <a:pt x="240792" y="0"/>
                  </a:cubicBezTo>
                  <a:cubicBezTo>
                    <a:pt x="373761" y="0"/>
                    <a:pt x="481584" y="5048"/>
                    <a:pt x="481584" y="11239"/>
                  </a:cubicBezTo>
                  <a:close/>
                </a:path>
              </a:pathLst>
            </a:custGeom>
            <a:solidFill>
              <a:schemeClr val="accent5"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39" name="Gruppieren 64">
            <a:extLst>
              <a:ext uri="{FF2B5EF4-FFF2-40B4-BE49-F238E27FC236}">
                <a16:creationId xmlns:a16="http://schemas.microsoft.com/office/drawing/2014/main" id="{B901E8AA-2FDD-6164-5C24-D0F76B759936}"/>
              </a:ext>
            </a:extLst>
          </p:cNvPr>
          <p:cNvGrpSpPr>
            <a:grpSpLocks/>
          </p:cNvGrpSpPr>
          <p:nvPr/>
        </p:nvGrpSpPr>
        <p:grpSpPr>
          <a:xfrm>
            <a:off x="3108051" y="1746042"/>
            <a:ext cx="1310759" cy="2768784"/>
            <a:chOff x="3001573" y="1577257"/>
            <a:chExt cx="1107853" cy="2768784"/>
          </a:xfrm>
        </p:grpSpPr>
        <p:sp>
          <p:nvSpPr>
            <p:cNvPr id="40" name="Freihandform: Form 25">
              <a:extLst>
                <a:ext uri="{FF2B5EF4-FFF2-40B4-BE49-F238E27FC236}">
                  <a16:creationId xmlns:a16="http://schemas.microsoft.com/office/drawing/2014/main" id="{564CA954-78FC-D8DE-F64C-E99E47188B51}"/>
                </a:ext>
              </a:extLst>
            </p:cNvPr>
            <p:cNvSpPr>
              <a:spLocks/>
            </p:cNvSpPr>
            <p:nvPr/>
          </p:nvSpPr>
          <p:spPr>
            <a:xfrm rot="16200000">
              <a:off x="2239853" y="2474830"/>
              <a:ext cx="2767145" cy="972000"/>
            </a:xfrm>
            <a:custGeom>
              <a:avLst/>
              <a:gdLst>
                <a:gd name="connsiteX0" fmla="*/ 481013 w 481012"/>
                <a:gd name="connsiteY0" fmla="*/ 0 h 85439"/>
                <a:gd name="connsiteX1" fmla="*/ 449390 w 481012"/>
                <a:gd name="connsiteY1" fmla="*/ 75629 h 85439"/>
                <a:gd name="connsiteX2" fmla="*/ 240506 w 481012"/>
                <a:gd name="connsiteY2" fmla="*/ 85439 h 85439"/>
                <a:gd name="connsiteX3" fmla="*/ 31623 w 481012"/>
                <a:gd name="connsiteY3" fmla="*/ 75629 h 85439"/>
                <a:gd name="connsiteX4" fmla="*/ 31718 w 481012"/>
                <a:gd name="connsiteY4" fmla="*/ 75629 h 85439"/>
                <a:gd name="connsiteX5" fmla="*/ 0 w 481012"/>
                <a:gd name="connsiteY5" fmla="*/ 0 h 85439"/>
                <a:gd name="connsiteX6" fmla="*/ 240506 w 481012"/>
                <a:gd name="connsiteY6" fmla="*/ 10668 h 85439"/>
                <a:gd name="connsiteX7" fmla="*/ 481013 w 481012"/>
                <a:gd name="connsiteY7" fmla="*/ 0 h 8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1012" h="85439">
                  <a:moveTo>
                    <a:pt x="481013" y="0"/>
                  </a:moveTo>
                  <a:lnTo>
                    <a:pt x="449390" y="75629"/>
                  </a:lnTo>
                  <a:cubicBezTo>
                    <a:pt x="449390" y="81058"/>
                    <a:pt x="355854" y="85439"/>
                    <a:pt x="240506" y="85439"/>
                  </a:cubicBezTo>
                  <a:cubicBezTo>
                    <a:pt x="125159" y="85439"/>
                    <a:pt x="31623" y="81058"/>
                    <a:pt x="31623" y="75629"/>
                  </a:cubicBezTo>
                  <a:lnTo>
                    <a:pt x="31718" y="75629"/>
                  </a:lnTo>
                  <a:lnTo>
                    <a:pt x="0" y="0"/>
                  </a:lnTo>
                  <a:cubicBezTo>
                    <a:pt x="6477" y="5906"/>
                    <a:pt x="111728" y="10668"/>
                    <a:pt x="240506" y="10668"/>
                  </a:cubicBezTo>
                  <a:cubicBezTo>
                    <a:pt x="369284" y="10668"/>
                    <a:pt x="474536" y="5906"/>
                    <a:pt x="481013" y="0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454545"/>
                </a:solidFill>
              </a:endParaRPr>
            </a:p>
          </p:txBody>
        </p:sp>
        <p:sp>
          <p:nvSpPr>
            <p:cNvPr id="41" name="Freihandform: Form 26">
              <a:extLst>
                <a:ext uri="{FF2B5EF4-FFF2-40B4-BE49-F238E27FC236}">
                  <a16:creationId xmlns:a16="http://schemas.microsoft.com/office/drawing/2014/main" id="{B8007466-1AB8-1C66-034B-CBB98693E74D}"/>
                </a:ext>
              </a:extLst>
            </p:cNvPr>
            <p:cNvSpPr>
              <a:spLocks/>
            </p:cNvSpPr>
            <p:nvPr/>
          </p:nvSpPr>
          <p:spPr>
            <a:xfrm rot="16200000">
              <a:off x="1747274" y="2833196"/>
              <a:ext cx="2767144" cy="258545"/>
            </a:xfrm>
            <a:custGeom>
              <a:avLst/>
              <a:gdLst>
                <a:gd name="connsiteX0" fmla="*/ 481584 w 481584"/>
                <a:gd name="connsiteY0" fmla="*/ 11239 h 22478"/>
                <a:gd name="connsiteX1" fmla="*/ 481298 w 481584"/>
                <a:gd name="connsiteY1" fmla="*/ 11811 h 22478"/>
                <a:gd name="connsiteX2" fmla="*/ 240792 w 481584"/>
                <a:gd name="connsiteY2" fmla="*/ 22479 h 22478"/>
                <a:gd name="connsiteX3" fmla="*/ 286 w 481584"/>
                <a:gd name="connsiteY3" fmla="*/ 11811 h 22478"/>
                <a:gd name="connsiteX4" fmla="*/ 0 w 481584"/>
                <a:gd name="connsiteY4" fmla="*/ 11239 h 22478"/>
                <a:gd name="connsiteX5" fmla="*/ 240792 w 481584"/>
                <a:gd name="connsiteY5" fmla="*/ 0 h 22478"/>
                <a:gd name="connsiteX6" fmla="*/ 481584 w 481584"/>
                <a:gd name="connsiteY6" fmla="*/ 11239 h 2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1584" h="22478">
                  <a:moveTo>
                    <a:pt x="481584" y="11239"/>
                  </a:moveTo>
                  <a:cubicBezTo>
                    <a:pt x="481584" y="11239"/>
                    <a:pt x="481489" y="11621"/>
                    <a:pt x="481298" y="11811"/>
                  </a:cubicBezTo>
                  <a:cubicBezTo>
                    <a:pt x="474821" y="17717"/>
                    <a:pt x="369570" y="22479"/>
                    <a:pt x="240792" y="22479"/>
                  </a:cubicBezTo>
                  <a:cubicBezTo>
                    <a:pt x="112014" y="22479"/>
                    <a:pt x="6763" y="17717"/>
                    <a:pt x="286" y="11811"/>
                  </a:cubicBezTo>
                  <a:cubicBezTo>
                    <a:pt x="95" y="11621"/>
                    <a:pt x="0" y="11430"/>
                    <a:pt x="0" y="11239"/>
                  </a:cubicBezTo>
                  <a:cubicBezTo>
                    <a:pt x="0" y="5048"/>
                    <a:pt x="107823" y="0"/>
                    <a:pt x="240792" y="0"/>
                  </a:cubicBezTo>
                  <a:cubicBezTo>
                    <a:pt x="373761" y="0"/>
                    <a:pt x="481584" y="5048"/>
                    <a:pt x="481584" y="11239"/>
                  </a:cubicBezTo>
                  <a:close/>
                </a:path>
              </a:pathLst>
            </a:custGeom>
            <a:solidFill>
              <a:srgbClr val="E7E6E6">
                <a:alpha val="49804"/>
              </a:srgb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rgbClr val="454545"/>
                </a:solidFill>
              </a:endParaRPr>
            </a:p>
          </p:txBody>
        </p:sp>
      </p:grpSp>
      <p:grpSp>
        <p:nvGrpSpPr>
          <p:cNvPr id="42" name="Gruppieren 63">
            <a:extLst>
              <a:ext uri="{FF2B5EF4-FFF2-40B4-BE49-F238E27FC236}">
                <a16:creationId xmlns:a16="http://schemas.microsoft.com/office/drawing/2014/main" id="{4F884038-CF6C-AA5A-169F-14AB73061C9E}"/>
              </a:ext>
            </a:extLst>
          </p:cNvPr>
          <p:cNvGrpSpPr>
            <a:grpSpLocks/>
          </p:cNvGrpSpPr>
          <p:nvPr/>
        </p:nvGrpSpPr>
        <p:grpSpPr>
          <a:xfrm>
            <a:off x="1910080" y="1527687"/>
            <a:ext cx="1310759" cy="3207134"/>
            <a:chOff x="1905002" y="1358902"/>
            <a:chExt cx="1107853" cy="3207134"/>
          </a:xfrm>
        </p:grpSpPr>
        <p:sp>
          <p:nvSpPr>
            <p:cNvPr id="43" name="Freihandform: Form 28">
              <a:extLst>
                <a:ext uri="{FF2B5EF4-FFF2-40B4-BE49-F238E27FC236}">
                  <a16:creationId xmlns:a16="http://schemas.microsoft.com/office/drawing/2014/main" id="{5B5C55BB-454D-B39E-3306-BE259B20B6C1}"/>
                </a:ext>
              </a:extLst>
            </p:cNvPr>
            <p:cNvSpPr>
              <a:spLocks/>
            </p:cNvSpPr>
            <p:nvPr/>
          </p:nvSpPr>
          <p:spPr>
            <a:xfrm rot="16200000">
              <a:off x="924855" y="2476137"/>
              <a:ext cx="3204000" cy="972000"/>
            </a:xfrm>
            <a:custGeom>
              <a:avLst/>
              <a:gdLst>
                <a:gd name="connsiteX0" fmla="*/ 481013 w 481012"/>
                <a:gd name="connsiteY0" fmla="*/ 0 h 85439"/>
                <a:gd name="connsiteX1" fmla="*/ 449390 w 481012"/>
                <a:gd name="connsiteY1" fmla="*/ 75629 h 85439"/>
                <a:gd name="connsiteX2" fmla="*/ 240506 w 481012"/>
                <a:gd name="connsiteY2" fmla="*/ 85439 h 85439"/>
                <a:gd name="connsiteX3" fmla="*/ 31623 w 481012"/>
                <a:gd name="connsiteY3" fmla="*/ 75629 h 85439"/>
                <a:gd name="connsiteX4" fmla="*/ 31718 w 481012"/>
                <a:gd name="connsiteY4" fmla="*/ 75629 h 85439"/>
                <a:gd name="connsiteX5" fmla="*/ 0 w 481012"/>
                <a:gd name="connsiteY5" fmla="*/ 0 h 85439"/>
                <a:gd name="connsiteX6" fmla="*/ 240506 w 481012"/>
                <a:gd name="connsiteY6" fmla="*/ 10668 h 85439"/>
                <a:gd name="connsiteX7" fmla="*/ 481013 w 481012"/>
                <a:gd name="connsiteY7" fmla="*/ 0 h 8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1012" h="85439">
                  <a:moveTo>
                    <a:pt x="481013" y="0"/>
                  </a:moveTo>
                  <a:lnTo>
                    <a:pt x="449390" y="75629"/>
                  </a:lnTo>
                  <a:cubicBezTo>
                    <a:pt x="449390" y="81058"/>
                    <a:pt x="355854" y="85439"/>
                    <a:pt x="240506" y="85439"/>
                  </a:cubicBezTo>
                  <a:cubicBezTo>
                    <a:pt x="125159" y="85439"/>
                    <a:pt x="31623" y="81058"/>
                    <a:pt x="31623" y="75629"/>
                  </a:cubicBezTo>
                  <a:lnTo>
                    <a:pt x="31718" y="75629"/>
                  </a:lnTo>
                  <a:lnTo>
                    <a:pt x="0" y="0"/>
                  </a:lnTo>
                  <a:cubicBezTo>
                    <a:pt x="6477" y="5906"/>
                    <a:pt x="111728" y="10668"/>
                    <a:pt x="240506" y="10668"/>
                  </a:cubicBezTo>
                  <a:cubicBezTo>
                    <a:pt x="369284" y="10668"/>
                    <a:pt x="474536" y="5906"/>
                    <a:pt x="481013" y="0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454545"/>
                </a:solidFill>
              </a:endParaRPr>
            </a:p>
          </p:txBody>
        </p:sp>
        <p:sp>
          <p:nvSpPr>
            <p:cNvPr id="45" name="Freihandform: Form 29">
              <a:extLst>
                <a:ext uri="{FF2B5EF4-FFF2-40B4-BE49-F238E27FC236}">
                  <a16:creationId xmlns:a16="http://schemas.microsoft.com/office/drawing/2014/main" id="{B9911518-357C-F23B-C808-FE6A9C37F70B}"/>
                </a:ext>
              </a:extLst>
            </p:cNvPr>
            <p:cNvSpPr>
              <a:spLocks/>
            </p:cNvSpPr>
            <p:nvPr/>
          </p:nvSpPr>
          <p:spPr>
            <a:xfrm rot="16200000">
              <a:off x="430708" y="2833196"/>
              <a:ext cx="3207134" cy="258545"/>
            </a:xfrm>
            <a:custGeom>
              <a:avLst/>
              <a:gdLst>
                <a:gd name="connsiteX0" fmla="*/ 481584 w 481584"/>
                <a:gd name="connsiteY0" fmla="*/ 11239 h 22478"/>
                <a:gd name="connsiteX1" fmla="*/ 481298 w 481584"/>
                <a:gd name="connsiteY1" fmla="*/ 11811 h 22478"/>
                <a:gd name="connsiteX2" fmla="*/ 240792 w 481584"/>
                <a:gd name="connsiteY2" fmla="*/ 22479 h 22478"/>
                <a:gd name="connsiteX3" fmla="*/ 286 w 481584"/>
                <a:gd name="connsiteY3" fmla="*/ 11811 h 22478"/>
                <a:gd name="connsiteX4" fmla="*/ 0 w 481584"/>
                <a:gd name="connsiteY4" fmla="*/ 11239 h 22478"/>
                <a:gd name="connsiteX5" fmla="*/ 240792 w 481584"/>
                <a:gd name="connsiteY5" fmla="*/ 0 h 22478"/>
                <a:gd name="connsiteX6" fmla="*/ 481584 w 481584"/>
                <a:gd name="connsiteY6" fmla="*/ 11239 h 2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1584" h="22478">
                  <a:moveTo>
                    <a:pt x="481584" y="11239"/>
                  </a:moveTo>
                  <a:cubicBezTo>
                    <a:pt x="481584" y="11239"/>
                    <a:pt x="481489" y="11621"/>
                    <a:pt x="481298" y="11811"/>
                  </a:cubicBezTo>
                  <a:cubicBezTo>
                    <a:pt x="474821" y="17717"/>
                    <a:pt x="369570" y="22479"/>
                    <a:pt x="240792" y="22479"/>
                  </a:cubicBezTo>
                  <a:cubicBezTo>
                    <a:pt x="112014" y="22479"/>
                    <a:pt x="6763" y="17717"/>
                    <a:pt x="286" y="11811"/>
                  </a:cubicBezTo>
                  <a:cubicBezTo>
                    <a:pt x="95" y="11621"/>
                    <a:pt x="0" y="11430"/>
                    <a:pt x="0" y="11239"/>
                  </a:cubicBezTo>
                  <a:cubicBezTo>
                    <a:pt x="0" y="5048"/>
                    <a:pt x="107823" y="0"/>
                    <a:pt x="240792" y="0"/>
                  </a:cubicBezTo>
                  <a:cubicBezTo>
                    <a:pt x="373761" y="0"/>
                    <a:pt x="481584" y="5048"/>
                    <a:pt x="481584" y="11239"/>
                  </a:cubicBezTo>
                  <a:close/>
                </a:path>
              </a:pathLst>
            </a:custGeom>
            <a:solidFill>
              <a:srgbClr val="E7E6E6">
                <a:alpha val="49804"/>
              </a:srgb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ea typeface="+mn-ea"/>
              </a:endParaRPr>
            </a:p>
          </p:txBody>
        </p:sp>
      </p:grpSp>
      <p:sp>
        <p:nvSpPr>
          <p:cNvPr id="46" name="Textfeld 114">
            <a:extLst>
              <a:ext uri="{FF2B5EF4-FFF2-40B4-BE49-F238E27FC236}">
                <a16:creationId xmlns:a16="http://schemas.microsoft.com/office/drawing/2014/main" id="{E3CC1D15-FE3B-138A-BF49-9283CEE45771}"/>
              </a:ext>
            </a:extLst>
          </p:cNvPr>
          <p:cNvSpPr txBox="1">
            <a:spLocks/>
          </p:cNvSpPr>
          <p:nvPr/>
        </p:nvSpPr>
        <p:spPr>
          <a:xfrm>
            <a:off x="9276909" y="3023531"/>
            <a:ext cx="1066848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</a:pPr>
            <a:r>
              <a:rPr lang="en-US" sz="2000" b="1">
                <a:solidFill>
                  <a:schemeClr val="bg1"/>
                </a:solidFill>
                <a:cs typeface="Helvetica" panose="020B0604020202020204" pitchFamily="34" charset="0"/>
              </a:rPr>
              <a:t>07</a:t>
            </a:r>
          </a:p>
        </p:txBody>
      </p:sp>
      <p:sp>
        <p:nvSpPr>
          <p:cNvPr id="47" name="Textfeld 114">
            <a:extLst>
              <a:ext uri="{FF2B5EF4-FFF2-40B4-BE49-F238E27FC236}">
                <a16:creationId xmlns:a16="http://schemas.microsoft.com/office/drawing/2014/main" id="{91BF6F1C-0819-FF78-FAD0-FF3586D2DE91}"/>
              </a:ext>
            </a:extLst>
          </p:cNvPr>
          <p:cNvSpPr txBox="1">
            <a:spLocks/>
          </p:cNvSpPr>
          <p:nvPr/>
        </p:nvSpPr>
        <p:spPr>
          <a:xfrm>
            <a:off x="8119905" y="3023531"/>
            <a:ext cx="1059336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</a:pPr>
            <a:r>
              <a:rPr lang="en-US" sz="2000" b="1">
                <a:solidFill>
                  <a:schemeClr val="bg1"/>
                </a:solidFill>
                <a:cs typeface="Helvetica" panose="020B0604020202020204" pitchFamily="34" charset="0"/>
              </a:rPr>
              <a:t>06</a:t>
            </a:r>
          </a:p>
        </p:txBody>
      </p:sp>
      <p:sp>
        <p:nvSpPr>
          <p:cNvPr id="48" name="Textfeld 114">
            <a:extLst>
              <a:ext uri="{FF2B5EF4-FFF2-40B4-BE49-F238E27FC236}">
                <a16:creationId xmlns:a16="http://schemas.microsoft.com/office/drawing/2014/main" id="{5A5DBEEA-E090-7AC4-CC48-3B91A7282964}"/>
              </a:ext>
            </a:extLst>
          </p:cNvPr>
          <p:cNvSpPr txBox="1">
            <a:spLocks/>
          </p:cNvSpPr>
          <p:nvPr/>
        </p:nvSpPr>
        <p:spPr>
          <a:xfrm>
            <a:off x="6955386" y="3023531"/>
            <a:ext cx="1036796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</a:pPr>
            <a:r>
              <a:rPr lang="en-US" sz="2000" b="1">
                <a:solidFill>
                  <a:schemeClr val="bg1"/>
                </a:solidFill>
                <a:cs typeface="Helvetica" panose="020B0604020202020204" pitchFamily="34" charset="0"/>
              </a:rPr>
              <a:t>05</a:t>
            </a:r>
          </a:p>
        </p:txBody>
      </p:sp>
      <p:sp>
        <p:nvSpPr>
          <p:cNvPr id="49" name="Textfeld 114">
            <a:extLst>
              <a:ext uri="{FF2B5EF4-FFF2-40B4-BE49-F238E27FC236}">
                <a16:creationId xmlns:a16="http://schemas.microsoft.com/office/drawing/2014/main" id="{29E8A236-C099-F780-F91E-8CF72DBFD5F0}"/>
              </a:ext>
            </a:extLst>
          </p:cNvPr>
          <p:cNvSpPr txBox="1">
            <a:spLocks/>
          </p:cNvSpPr>
          <p:nvPr/>
        </p:nvSpPr>
        <p:spPr>
          <a:xfrm>
            <a:off x="5768330" y="3023531"/>
            <a:ext cx="1029283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</a:pPr>
            <a:r>
              <a:rPr lang="en-US" sz="2000" b="1">
                <a:solidFill>
                  <a:schemeClr val="tx2"/>
                </a:solidFill>
                <a:cs typeface="Helvetica" panose="020B0604020202020204" pitchFamily="34" charset="0"/>
              </a:rPr>
              <a:t>04</a:t>
            </a:r>
          </a:p>
        </p:txBody>
      </p:sp>
      <p:sp>
        <p:nvSpPr>
          <p:cNvPr id="50" name="Textfeld 114">
            <a:extLst>
              <a:ext uri="{FF2B5EF4-FFF2-40B4-BE49-F238E27FC236}">
                <a16:creationId xmlns:a16="http://schemas.microsoft.com/office/drawing/2014/main" id="{8D068AA1-931D-E889-C669-E870EE04DCD8}"/>
              </a:ext>
            </a:extLst>
          </p:cNvPr>
          <p:cNvSpPr txBox="1">
            <a:spLocks/>
          </p:cNvSpPr>
          <p:nvPr/>
        </p:nvSpPr>
        <p:spPr>
          <a:xfrm>
            <a:off x="4603811" y="3023531"/>
            <a:ext cx="1029284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</a:pPr>
            <a:r>
              <a:rPr lang="en-US" sz="2000" b="1">
                <a:solidFill>
                  <a:schemeClr val="tx2"/>
                </a:solidFill>
                <a:cs typeface="Helvetica" panose="020B0604020202020204" pitchFamily="34" charset="0"/>
              </a:rPr>
              <a:t>03</a:t>
            </a:r>
          </a:p>
        </p:txBody>
      </p:sp>
      <p:sp>
        <p:nvSpPr>
          <p:cNvPr id="51" name="Textfeld 114">
            <a:extLst>
              <a:ext uri="{FF2B5EF4-FFF2-40B4-BE49-F238E27FC236}">
                <a16:creationId xmlns:a16="http://schemas.microsoft.com/office/drawing/2014/main" id="{F21ADDAF-CE0F-7648-0BC8-96C6575B3EF1}"/>
              </a:ext>
            </a:extLst>
          </p:cNvPr>
          <p:cNvSpPr txBox="1">
            <a:spLocks/>
          </p:cNvSpPr>
          <p:nvPr/>
        </p:nvSpPr>
        <p:spPr>
          <a:xfrm>
            <a:off x="3424269" y="3023531"/>
            <a:ext cx="982179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</a:pPr>
            <a:r>
              <a:rPr lang="en-US" sz="2000" b="1">
                <a:solidFill>
                  <a:schemeClr val="tx2"/>
                </a:solidFill>
                <a:cs typeface="Helvetica" panose="020B0604020202020204" pitchFamily="34" charset="0"/>
              </a:rPr>
              <a:t>02</a:t>
            </a:r>
          </a:p>
        </p:txBody>
      </p:sp>
      <p:sp>
        <p:nvSpPr>
          <p:cNvPr id="52" name="Textfeld 114">
            <a:extLst>
              <a:ext uri="{FF2B5EF4-FFF2-40B4-BE49-F238E27FC236}">
                <a16:creationId xmlns:a16="http://schemas.microsoft.com/office/drawing/2014/main" id="{1EB50F20-0631-2466-2744-2A1A38D82672}"/>
              </a:ext>
            </a:extLst>
          </p:cNvPr>
          <p:cNvSpPr txBox="1">
            <a:spLocks/>
          </p:cNvSpPr>
          <p:nvPr/>
        </p:nvSpPr>
        <p:spPr>
          <a:xfrm>
            <a:off x="2222185" y="3023531"/>
            <a:ext cx="991720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</a:pPr>
            <a:r>
              <a:rPr lang="en-US" sz="2000" b="1">
                <a:solidFill>
                  <a:schemeClr val="tx2"/>
                </a:solidFill>
                <a:cs typeface="Helvetica" panose="020B0604020202020204" pitchFamily="34" charset="0"/>
              </a:rPr>
              <a:t>01</a:t>
            </a:r>
          </a:p>
        </p:txBody>
      </p:sp>
      <p:sp>
        <p:nvSpPr>
          <p:cNvPr id="53" name="Textfeld 114">
            <a:extLst>
              <a:ext uri="{FF2B5EF4-FFF2-40B4-BE49-F238E27FC236}">
                <a16:creationId xmlns:a16="http://schemas.microsoft.com/office/drawing/2014/main" id="{6E96110B-F883-2F34-8C66-B7C9F86221FA}"/>
              </a:ext>
            </a:extLst>
          </p:cNvPr>
          <p:cNvSpPr txBox="1">
            <a:spLocks/>
          </p:cNvSpPr>
          <p:nvPr/>
        </p:nvSpPr>
        <p:spPr>
          <a:xfrm>
            <a:off x="10473357" y="3023531"/>
            <a:ext cx="1070606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</a:pPr>
            <a:r>
              <a:rPr lang="en-US" sz="2000" b="1">
                <a:solidFill>
                  <a:schemeClr val="bg1"/>
                </a:solidFill>
                <a:cs typeface="Helvetica" panose="020B0604020202020204" pitchFamily="34" charset="0"/>
              </a:rPr>
              <a:t>08</a:t>
            </a:r>
          </a:p>
        </p:txBody>
      </p:sp>
      <p:sp>
        <p:nvSpPr>
          <p:cNvPr id="54" name="Textplatzhalter 9">
            <a:extLst>
              <a:ext uri="{FF2B5EF4-FFF2-40B4-BE49-F238E27FC236}">
                <a16:creationId xmlns:a16="http://schemas.microsoft.com/office/drawing/2014/main" id="{645E7596-9C45-941E-5C8A-9E4C7967F88E}"/>
              </a:ext>
            </a:extLst>
          </p:cNvPr>
          <p:cNvSpPr txBox="1">
            <a:spLocks/>
          </p:cNvSpPr>
          <p:nvPr/>
        </p:nvSpPr>
        <p:spPr bwMode="gray">
          <a:xfrm>
            <a:off x="402658" y="2738839"/>
            <a:ext cx="1292529" cy="78483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800">
                <a:solidFill>
                  <a:schemeClr val="tx2"/>
                </a:solidFill>
              </a:rPr>
              <a:t>Insert your desired text here</a:t>
            </a:r>
          </a:p>
        </p:txBody>
      </p:sp>
      <p:sp>
        <p:nvSpPr>
          <p:cNvPr id="55" name="Gleichschenkliges Dreieck 39">
            <a:extLst>
              <a:ext uri="{FF2B5EF4-FFF2-40B4-BE49-F238E27FC236}">
                <a16:creationId xmlns:a16="http://schemas.microsoft.com/office/drawing/2014/main" id="{69C57AB1-39C5-10F1-ED10-E54931A538E3}"/>
              </a:ext>
            </a:extLst>
          </p:cNvPr>
          <p:cNvSpPr>
            <a:spLocks/>
          </p:cNvSpPr>
          <p:nvPr/>
        </p:nvSpPr>
        <p:spPr>
          <a:xfrm rot="5400000">
            <a:off x="1803692" y="3071101"/>
            <a:ext cx="240570" cy="120313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454545"/>
              </a:solidFill>
            </a:endParaRP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813CDBCB-0513-0853-8B67-AD11CBEFDA2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04195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funnels</a:t>
            </a:r>
          </a:p>
        </p:txBody>
      </p:sp>
    </p:spTree>
    <p:extLst>
      <p:ext uri="{BB962C8B-B14F-4D97-AF65-F5344CB8AC3E}">
        <p14:creationId xmlns:p14="http://schemas.microsoft.com/office/powerpoint/2010/main" val="1958678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